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1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B0000"/>
    <a:srgbClr val="8D8D8D"/>
    <a:srgbClr val="444444"/>
    <a:srgbClr val="C60018"/>
    <a:srgbClr val="A20013"/>
    <a:srgbClr val="BDBDBD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7:18.422" v="22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5:17:18.422" v="22" actId="27918"/>
        <pc:sldMkLst>
          <pc:docMk/>
          <pc:sldMk cId="2641487227" sldId="271"/>
        </pc:sldMkLst>
        <pc:spChg chg="mod">
          <ac:chgData name="Weigel Stefan (PAR-EPS)" userId="fd3b2067-2981-4ad8-bf3a-d2e1004e4fa8" providerId="ADAL" clId="{A4CFA2F4-FF8D-446B-B271-6DF568DBEADA}" dt="2026-01-15T16:39:12.992" v="10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A4CFA2F4-FF8D-446B-B271-6DF568DBEADA}" dt="2026-01-15T16:39:10.116" v="8" actId="6549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9940708223574681E-2"/>
          <c:w val="0.77970737914140231"/>
          <c:h val="0.8199741906118294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EE3C-4C43-A7B7-0024E28DB0B0}"/>
              </c:ext>
            </c:extLst>
          </c:dPt>
          <c:cat>
            <c:strRef>
              <c:f>data!$G$3:$G$18</c:f>
              <c:strCache>
                <c:ptCount val="16"/>
                <c:pt idx="0">
                  <c:v>Grecia</c:v>
                </c:pt>
                <c:pt idx="1">
                  <c:v>Romania</c:v>
                </c:pt>
                <c:pt idx="2">
                  <c:v>Norvegia</c:v>
                </c:pt>
                <c:pt idx="3">
                  <c:v>Spagna</c:v>
                </c:pt>
                <c:pt idx="4">
                  <c:v>Paesi Bassi</c:v>
                </c:pt>
                <c:pt idx="5">
                  <c:v>Cechia</c:v>
                </c:pt>
                <c:pt idx="6">
                  <c:v>Gran Bretagna</c:v>
                </c:pt>
                <c:pt idx="7">
                  <c:v>Italia</c:v>
                </c:pt>
                <c:pt idx="8">
                  <c:v>Finlandia</c:v>
                </c:pt>
                <c:pt idx="9">
                  <c:v>Danimarca</c:v>
                </c:pt>
                <c:pt idx="10">
                  <c:v>Svezia</c:v>
                </c:pt>
                <c:pt idx="11">
                  <c:v>Germania</c:v>
                </c:pt>
                <c:pt idx="12">
                  <c:v>Francia</c:v>
                </c:pt>
                <c:pt idx="13">
                  <c:v>Ungheria</c:v>
                </c:pt>
                <c:pt idx="14">
                  <c:v>Austria</c:v>
                </c:pt>
                <c:pt idx="15">
                  <c:v>Svizzera</c:v>
                </c:pt>
              </c:strCache>
            </c:strRef>
          </c:cat>
          <c:val>
            <c:numRef>
              <c:f>data!$I$3:$I$18</c:f>
              <c:numCache>
                <c:formatCode>0.0</c:formatCode>
                <c:ptCount val="16"/>
                <c:pt idx="0">
                  <c:v>69.839734620536305</c:v>
                </c:pt>
                <c:pt idx="1">
                  <c:v>312.14490037340198</c:v>
                </c:pt>
                <c:pt idx="2">
                  <c:v>692.84312358562397</c:v>
                </c:pt>
                <c:pt idx="3">
                  <c:v>775.05221078355601</c:v>
                </c:pt>
                <c:pt idx="4">
                  <c:v>943.19300231594605</c:v>
                </c:pt>
                <c:pt idx="5">
                  <c:v>943.58128236857794</c:v>
                </c:pt>
                <c:pt idx="6">
                  <c:v>946.86970045370094</c:v>
                </c:pt>
                <c:pt idx="7">
                  <c:v>948.04072686040899</c:v>
                </c:pt>
                <c:pt idx="8">
                  <c:v>964.51880252754995</c:v>
                </c:pt>
                <c:pt idx="9">
                  <c:v>1081.4763345077599</c:v>
                </c:pt>
                <c:pt idx="10">
                  <c:v>1286.96384770644</c:v>
                </c:pt>
                <c:pt idx="11">
                  <c:v>1305.79964808559</c:v>
                </c:pt>
                <c:pt idx="12">
                  <c:v>1563.99104183649</c:v>
                </c:pt>
                <c:pt idx="13">
                  <c:v>1571.1511984587901</c:v>
                </c:pt>
                <c:pt idx="14">
                  <c:v>1613.7497304890101</c:v>
                </c:pt>
                <c:pt idx="15">
                  <c:v>2519.1998368863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40EB-4086-B314-698BDD6187D3}"/>
                    </c:ext>
                  </c:extLst>
                </c:dPt>
                <c:dPt>
                  <c:idx val="1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40EB-4086-B314-698BDD6187D3}"/>
                    </c:ext>
                  </c:extLst>
                </c:dPt>
                <c:dPt>
                  <c:idx val="1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40EB-4086-B314-698BDD6187D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8</c15:sqref>
                        </c15:formulaRef>
                      </c:ext>
                    </c:extLst>
                    <c:strCache>
                      <c:ptCount val="16"/>
                      <c:pt idx="0">
                        <c:v>Grecia</c:v>
                      </c:pt>
                      <c:pt idx="1">
                        <c:v>Romania</c:v>
                      </c:pt>
                      <c:pt idx="2">
                        <c:v>Norvegia</c:v>
                      </c:pt>
                      <c:pt idx="3">
                        <c:v>Spagna</c:v>
                      </c:pt>
                      <c:pt idx="4">
                        <c:v>Paesi Bassi</c:v>
                      </c:pt>
                      <c:pt idx="5">
                        <c:v>Cechia</c:v>
                      </c:pt>
                      <c:pt idx="6">
                        <c:v>Gran Bretagna</c:v>
                      </c:pt>
                      <c:pt idx="7">
                        <c:v>Italia</c:v>
                      </c:pt>
                      <c:pt idx="8">
                        <c:v>Finlandia</c:v>
                      </c:pt>
                      <c:pt idx="9">
                        <c:v>Danimarca</c:v>
                      </c:pt>
                      <c:pt idx="10">
                        <c:v>Svezia</c:v>
                      </c:pt>
                      <c:pt idx="11">
                        <c:v>Germania</c:v>
                      </c:pt>
                      <c:pt idx="12">
                        <c:v>Francia</c:v>
                      </c:pt>
                      <c:pt idx="13">
                        <c:v>Ungheria</c:v>
                      </c:pt>
                      <c:pt idx="14">
                        <c:v>Austria</c:v>
                      </c:pt>
                      <c:pt idx="15">
                        <c:v>Svizzer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8</c15:sqref>
                        </c15:formulaRef>
                      </c:ext>
                    </c:extLst>
                    <c:numCache>
                      <c:formatCode>0.0</c:formatCode>
                      <c:ptCount val="16"/>
                      <c:pt idx="0">
                        <c:v>116.80668074504401</c:v>
                      </c:pt>
                      <c:pt idx="1">
                        <c:v>305.55380514855602</c:v>
                      </c:pt>
                      <c:pt idx="2">
                        <c:v>692.11823577850703</c:v>
                      </c:pt>
                      <c:pt idx="3">
                        <c:v>609.64050716375698</c:v>
                      </c:pt>
                      <c:pt idx="4">
                        <c:v>1114.4567152766999</c:v>
                      </c:pt>
                      <c:pt idx="5">
                        <c:v>1015.15447207993</c:v>
                      </c:pt>
                      <c:pt idx="6">
                        <c:v>1069.85874091592</c:v>
                      </c:pt>
                      <c:pt idx="7">
                        <c:v>948.769085036913</c:v>
                      </c:pt>
                      <c:pt idx="8">
                        <c:v>891.17462027346198</c:v>
                      </c:pt>
                      <c:pt idx="9">
                        <c:v>1060.3213628993699</c:v>
                      </c:pt>
                      <c:pt idx="10">
                        <c:v>1415.3351764869799</c:v>
                      </c:pt>
                      <c:pt idx="11">
                        <c:v>1205.43422716332</c:v>
                      </c:pt>
                      <c:pt idx="12">
                        <c:v>1385.7853934715899</c:v>
                      </c:pt>
                      <c:pt idx="13">
                        <c:v>0</c:v>
                      </c:pt>
                      <c:pt idx="14">
                        <c:v>1488.8107758802801</c:v>
                      </c:pt>
                      <c:pt idx="15">
                        <c:v>2505.1031061581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0EB-4086-B314-698BDD6187D3}"/>
                  </c:ext>
                </c:extLst>
              </c15:ser>
            </c15:filteredBarSeries>
          </c:ext>
        </c:extLst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Domanda di traffico viaggiatori in Europa.</a:t>
            </a:r>
            <a:endParaRPr lang="de-CH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51618867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hilometri percorsi in treno per abitante nel 2024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e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Eurostat, ORR &amp; ONS (GB)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2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7963B72-E42B-4C31-B440-4646EC441F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omanda di traffico viaggiatori in Europ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manda di traffico viaggiatori in Europa.</dc:title>
  <dc:creator>Meyer Raphael (KOM-PGA-VSF)</dc:creator>
  <cp:lastModifiedBy>Weigel Stefan (PAR-EPS)</cp:lastModifiedBy>
  <cp:revision>17</cp:revision>
  <dcterms:created xsi:type="dcterms:W3CDTF">2020-09-30T11:00:09Z</dcterms:created>
  <dcterms:modified xsi:type="dcterms:W3CDTF">2026-03-03T13:5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